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46"/>
    <p:restoredTop sz="75248"/>
  </p:normalViewPr>
  <p:slideViewPr>
    <p:cSldViewPr snapToGrid="0">
      <p:cViewPr varScale="1">
        <p:scale>
          <a:sx n="119" d="100"/>
          <a:sy n="119" d="100"/>
        </p:scale>
        <p:origin x="4696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0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083984"/>
              </p:ext>
            </p:extLst>
          </p:nvPr>
        </p:nvGraphicFramePr>
        <p:xfrm>
          <a:off x="98198" y="610257"/>
          <a:ext cx="8945798" cy="622622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3159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 dirty="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 dirty="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4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6d</a:t>
                      </a:r>
                      <a:br/>
                      <a:r>
                        <a:t> (⬆ - 5d 15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0 / 4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8 / 15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2 (47 - 21 - 4)</a:t>
                      </a:r>
                      <a:br/>
                      <a:r>
                        <a:t> (⬇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25% - 17.36% - 3.4%</a:t>
                      </a:r>
                      <a:br/>
                      <a:r>
                        <a:t> (⬆ - 4.09% / ⬆ - 2.01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20h</a:t>
                      </a:r>
                      <a:br/>
                      <a:r>
                        <a:t> (⬇ + 4d 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8 / 2</a:t>
                      </a:r>
                      <a:br/>
                      <a:r>
                        <a:t> (⬇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2 (51 - 22 - 9)</a:t>
                      </a:r>
                      <a:br/>
                      <a:r>
                        <a:t> (⬇ - 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7.39% - 24.42% - 8.19%</a:t>
                      </a:r>
                      <a:br/>
                      <a:r>
                        <a:t> (⬇ + 15.54% / ⬇ + 4.6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3d 14h</a:t>
                      </a:r>
                      <a:br/>
                      <a:r>
                        <a:t> (⬆ - 5d 15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0</a:t>
                      </a:r>
                      <a:br/>
                      <a:r>
                        <a:t> (⬇ + 6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2 (15 - 11 - 6)</a:t>
                      </a:r>
                      <a:br/>
                      <a:r>
                        <a:t> (⬇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2.18% - 20.55% - 7.27%</a:t>
                      </a:r>
                      <a:br/>
                      <a:r>
                        <a:t> (⬇ + 5.8% / ⬇ + 0.97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pPr algn="ctr"/>
                      <a:endParaRPr lang="es-ES" sz="1200" noProof="1">
                        <a:solidFill>
                          <a:srgbClr val="FFFFFF"/>
                        </a:solidFill>
                        <a:latin typeface="Inter"/>
                      </a:endParaRP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Ticketing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16h 44m</a:t>
                      </a:r>
                      <a:br/>
                      <a:r>
                        <a:t> (⬇ + 16h 44m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 / 1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9 / 1</a:t>
                      </a:r>
                      <a:br/>
                      <a:r>
                        <a:t> (⬇ + 4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4 (29 - 12 - 3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5.72% - 9.99% - 4.29%</a:t>
                      </a:r>
                      <a:br/>
                      <a:r>
                        <a:t> (⬇ + 2.1% / ⬇ + 2.61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27789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</a:t>
                      </a:r>
                      <a:br/>
                      <a:r>
                        <a:t> (⬆ - 6d 5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 / 1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4</a:t>
                      </a:r>
                      <a:br/>
                      <a:r>
                        <a:t> (⬇ + 4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3 (10 - 12 - 1)</a:t>
                      </a:r>
                      <a:br/>
                      <a:r>
                        <a:t> (⬇ - 2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1.6% - 12.23% - 6.17%</a:t>
                      </a:r>
                      <a:br/>
                      <a:r>
                        <a:t> (⬇ + 8.02% / ⬆ - 12.46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8d 12h</a:t>
                      </a:r>
                      <a:br/>
                      <a:r>
                        <a:t> (⬇ + 3d 17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/ 3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2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0 (27 - 15 - 8)</a:t>
                      </a:r>
                      <a:br/>
                      <a:r>
                        <a:t> (⬇ -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.97% - 14.43% - 8.6%</a:t>
                      </a:r>
                      <a:br/>
                      <a:r>
                        <a:t> (⬇ + 7.02% / ⬇ + 2.15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1h</a:t>
                      </a:r>
                      <a:br/>
                      <a:r>
                        <a:t> (⬆ - 11d 15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9 (11 - 6 - 2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6.49% - 2.12% - 1.39%</a:t>
                      </a:r>
                      <a:br/>
                      <a:r>
                        <a:t> (⬆ - 13.51% / ⬆ - 3.64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2d 15h</a:t>
                      </a:r>
                      <a:br/>
                      <a:r>
                        <a:t> (⬇ + 11d 2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 (2 - 4 - 5)</a:t>
                      </a:r>
                      <a:br/>
                      <a:r>
                        <a:t> (⬆ + 5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4.26% - 28.03% - 7.71%</a:t>
                      </a:r>
                      <a:br/>
                      <a:r>
                        <a:t> (⬇ + 24.52% / ⬆ - 7.7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1h</a:t>
                      </a:r>
                      <a:br/>
                      <a:r>
                        <a:t> (⬇ + 4d 1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3 (22 - 9 - 2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25% - 3.93% - 16.82%</a:t>
                      </a:r>
                      <a:br/>
                      <a:r>
                        <a:t> (⬆ - 5.13% / ⬇ + 10.1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3d 17h</a:t>
                      </a:r>
                      <a:br/>
                      <a:r>
                        <a:t> (⬆ - 2d 2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 / 1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2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6 (8 - 5 - 3)</a:t>
                      </a:r>
                      <a:br/>
                      <a:r>
                        <a:t> (⬇ - 6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1.06% - 34.73% - 4.2%</a:t>
                      </a:r>
                      <a:br/>
                      <a:r>
                        <a:t> (⬇ + 25.14% / ⬆ - 18.12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29601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6633307" y="251817"/>
            <a:ext cx="241974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99692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08845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46267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2624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2536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19300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0715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534</Words>
  <Application>Microsoft Macintosh PowerPoint</Application>
  <PresentationFormat>Widescreen</PresentationFormat>
  <Paragraphs>9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7</cp:revision>
  <dcterms:created xsi:type="dcterms:W3CDTF">2023-10-30T14:38:48Z</dcterms:created>
  <dcterms:modified xsi:type="dcterms:W3CDTF">2023-12-20T13:5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